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70C73E2-89F7-4B51-8D91-75E00AC4D5BA}" v="73" dt="2023-03-05T14:34:19.29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555" y="48"/>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C70C73E2-89F7-4B51-8D91-75E00AC4D5BA}"/>
    <pc:docChg chg="custSel addSld delSld modSld">
      <pc:chgData name="Roberto Gallardo" userId="49a044883f185952" providerId="LiveId" clId="{C70C73E2-89F7-4B51-8D91-75E00AC4D5BA}" dt="2023-03-05T14:34:28.932" v="449" actId="1076"/>
      <pc:docMkLst>
        <pc:docMk/>
      </pc:docMkLst>
      <pc:sldChg chg="del">
        <pc:chgData name="Roberto Gallardo" userId="49a044883f185952" providerId="LiveId" clId="{C70C73E2-89F7-4B51-8D91-75E00AC4D5BA}" dt="2023-02-25T14:50:29.844" v="198" actId="47"/>
        <pc:sldMkLst>
          <pc:docMk/>
          <pc:sldMk cId="1175010214" sldId="261"/>
        </pc:sldMkLst>
      </pc:sldChg>
      <pc:sldChg chg="addSp delSp modSp mod">
        <pc:chgData name="Roberto Gallardo" userId="49a044883f185952" providerId="LiveId" clId="{C70C73E2-89F7-4B51-8D91-75E00AC4D5BA}" dt="2023-03-05T14:26:07.324" v="228" actId="1076"/>
        <pc:sldMkLst>
          <pc:docMk/>
          <pc:sldMk cId="1418533539" sldId="271"/>
        </pc:sldMkLst>
        <pc:picChg chg="add mod">
          <ac:chgData name="Roberto Gallardo" userId="49a044883f185952" providerId="LiveId" clId="{C70C73E2-89F7-4B51-8D91-75E00AC4D5BA}" dt="2023-03-05T14:26:07.324" v="228" actId="1076"/>
          <ac:picMkLst>
            <pc:docMk/>
            <pc:sldMk cId="1418533539" sldId="271"/>
            <ac:picMk id="6" creationId="{5ABFC65C-AA08-A2E4-8D04-D651633E8566}"/>
          </ac:picMkLst>
        </pc:picChg>
        <pc:picChg chg="add del mod">
          <ac:chgData name="Roberto Gallardo" userId="49a044883f185952" providerId="LiveId" clId="{C70C73E2-89F7-4B51-8D91-75E00AC4D5BA}" dt="2023-03-05T14:09:27.039" v="199" actId="478"/>
          <ac:picMkLst>
            <pc:docMk/>
            <pc:sldMk cId="1418533539" sldId="271"/>
            <ac:picMk id="6" creationId="{C7A96F90-9F9E-0A02-F95D-258D68BBAF88}"/>
          </ac:picMkLst>
        </pc:picChg>
      </pc:sldChg>
      <pc:sldChg chg="addSp delSp modSp mod">
        <pc:chgData name="Roberto Gallardo" userId="49a044883f185952" providerId="LiveId" clId="{C70C73E2-89F7-4B51-8D91-75E00AC4D5BA}" dt="2023-03-05T14:30:04.109" v="282" actId="1076"/>
        <pc:sldMkLst>
          <pc:docMk/>
          <pc:sldMk cId="2124848710" sldId="281"/>
        </pc:sldMkLst>
        <pc:picChg chg="add del mod">
          <ac:chgData name="Roberto Gallardo" userId="49a044883f185952" providerId="LiveId" clId="{C70C73E2-89F7-4B51-8D91-75E00AC4D5BA}" dt="2023-03-05T14:09:38.888" v="205" actId="478"/>
          <ac:picMkLst>
            <pc:docMk/>
            <pc:sldMk cId="2124848710" sldId="281"/>
            <ac:picMk id="6" creationId="{3ADDA2D5-9867-AC2C-8819-FAF39228EC83}"/>
          </ac:picMkLst>
        </pc:picChg>
        <pc:picChg chg="add mod">
          <ac:chgData name="Roberto Gallardo" userId="49a044883f185952" providerId="LiveId" clId="{C70C73E2-89F7-4B51-8D91-75E00AC4D5BA}" dt="2023-03-05T14:30:04.109" v="282" actId="1076"/>
          <ac:picMkLst>
            <pc:docMk/>
            <pc:sldMk cId="2124848710" sldId="281"/>
            <ac:picMk id="6" creationId="{BFC7066E-7B95-01CA-F2FA-5BE4F1455CA9}"/>
          </ac:picMkLst>
        </pc:picChg>
      </pc:sldChg>
      <pc:sldChg chg="addSp delSp modSp mod">
        <pc:chgData name="Roberto Gallardo" userId="49a044883f185952" providerId="LiveId" clId="{C70C73E2-89F7-4B51-8D91-75E00AC4D5BA}" dt="2023-03-05T14:30:37.175" v="299" actId="1036"/>
        <pc:sldMkLst>
          <pc:docMk/>
          <pc:sldMk cId="2028175529" sldId="282"/>
        </pc:sldMkLst>
        <pc:picChg chg="add del mod">
          <ac:chgData name="Roberto Gallardo" userId="49a044883f185952" providerId="LiveId" clId="{C70C73E2-89F7-4B51-8D91-75E00AC4D5BA}" dt="2023-03-05T14:09:40.923" v="206" actId="478"/>
          <ac:picMkLst>
            <pc:docMk/>
            <pc:sldMk cId="2028175529" sldId="282"/>
            <ac:picMk id="7" creationId="{EA6C1C38-9498-AD3A-AF42-A3B3C9B0701B}"/>
          </ac:picMkLst>
        </pc:picChg>
        <pc:picChg chg="add mod">
          <ac:chgData name="Roberto Gallardo" userId="49a044883f185952" providerId="LiveId" clId="{C70C73E2-89F7-4B51-8D91-75E00AC4D5BA}" dt="2023-03-05T14:30:37.175" v="299" actId="1036"/>
          <ac:picMkLst>
            <pc:docMk/>
            <pc:sldMk cId="2028175529" sldId="282"/>
            <ac:picMk id="7" creationId="{F90BC40B-4D49-E1D9-A57C-1794F99308D5}"/>
          </ac:picMkLst>
        </pc:picChg>
      </pc:sldChg>
      <pc:sldChg chg="addSp delSp modSp mod">
        <pc:chgData name="Roberto Gallardo" userId="49a044883f185952" providerId="LiveId" clId="{C70C73E2-89F7-4B51-8D91-75E00AC4D5BA}" dt="2023-03-05T14:30:59.304" v="311" actId="1035"/>
        <pc:sldMkLst>
          <pc:docMk/>
          <pc:sldMk cId="1326517747" sldId="283"/>
        </pc:sldMkLst>
        <pc:picChg chg="add mod">
          <ac:chgData name="Roberto Gallardo" userId="49a044883f185952" providerId="LiveId" clId="{C70C73E2-89F7-4B51-8D91-75E00AC4D5BA}" dt="2023-03-05T14:30:59.304" v="311" actId="1035"/>
          <ac:picMkLst>
            <pc:docMk/>
            <pc:sldMk cId="1326517747" sldId="283"/>
            <ac:picMk id="7" creationId="{50237FFC-4A59-E60A-B559-1B5B5768A022}"/>
          </ac:picMkLst>
        </pc:picChg>
        <pc:picChg chg="add del mod">
          <ac:chgData name="Roberto Gallardo" userId="49a044883f185952" providerId="LiveId" clId="{C70C73E2-89F7-4B51-8D91-75E00AC4D5BA}" dt="2023-03-05T14:09:42.410" v="207" actId="478"/>
          <ac:picMkLst>
            <pc:docMk/>
            <pc:sldMk cId="1326517747" sldId="283"/>
            <ac:picMk id="7" creationId="{D1561463-9BCB-1E03-5A14-ED150D4C5BA2}"/>
          </ac:picMkLst>
        </pc:picChg>
      </pc:sldChg>
      <pc:sldChg chg="addSp delSp modSp mod">
        <pc:chgData name="Roberto Gallardo" userId="49a044883f185952" providerId="LiveId" clId="{C70C73E2-89F7-4B51-8D91-75E00AC4D5BA}" dt="2023-03-05T14:31:20.497" v="319" actId="14100"/>
        <pc:sldMkLst>
          <pc:docMk/>
          <pc:sldMk cId="783739251" sldId="284"/>
        </pc:sldMkLst>
        <pc:picChg chg="add mod">
          <ac:chgData name="Roberto Gallardo" userId="49a044883f185952" providerId="LiveId" clId="{C70C73E2-89F7-4B51-8D91-75E00AC4D5BA}" dt="2023-03-05T14:31:20.497" v="319" actId="14100"/>
          <ac:picMkLst>
            <pc:docMk/>
            <pc:sldMk cId="783739251" sldId="284"/>
            <ac:picMk id="7" creationId="{83C91FD2-A418-C572-C4A5-F9C2700DFD60}"/>
          </ac:picMkLst>
        </pc:picChg>
        <pc:picChg chg="add del mod">
          <ac:chgData name="Roberto Gallardo" userId="49a044883f185952" providerId="LiveId" clId="{C70C73E2-89F7-4B51-8D91-75E00AC4D5BA}" dt="2023-03-05T14:09:44.793" v="208" actId="478"/>
          <ac:picMkLst>
            <pc:docMk/>
            <pc:sldMk cId="783739251" sldId="284"/>
            <ac:picMk id="7" creationId="{EADE691F-0972-7AD6-BEBD-3F3C26AAF183}"/>
          </ac:picMkLst>
        </pc:picChg>
      </pc:sldChg>
      <pc:sldChg chg="addSp delSp modSp mod">
        <pc:chgData name="Roberto Gallardo" userId="49a044883f185952" providerId="LiveId" clId="{C70C73E2-89F7-4B51-8D91-75E00AC4D5BA}" dt="2023-03-05T14:31:40.016" v="329" actId="1076"/>
        <pc:sldMkLst>
          <pc:docMk/>
          <pc:sldMk cId="1676122233" sldId="285"/>
        </pc:sldMkLst>
        <pc:picChg chg="add mod">
          <ac:chgData name="Roberto Gallardo" userId="49a044883f185952" providerId="LiveId" clId="{C70C73E2-89F7-4B51-8D91-75E00AC4D5BA}" dt="2023-03-05T14:31:40.016" v="329" actId="1076"/>
          <ac:picMkLst>
            <pc:docMk/>
            <pc:sldMk cId="1676122233" sldId="285"/>
            <ac:picMk id="7" creationId="{29E0934E-7C0B-3B89-CAC7-C9C96288E2BD}"/>
          </ac:picMkLst>
        </pc:picChg>
        <pc:picChg chg="add del mod">
          <ac:chgData name="Roberto Gallardo" userId="49a044883f185952" providerId="LiveId" clId="{C70C73E2-89F7-4B51-8D91-75E00AC4D5BA}" dt="2023-03-05T14:09:46.791" v="209" actId="478"/>
          <ac:picMkLst>
            <pc:docMk/>
            <pc:sldMk cId="1676122233" sldId="285"/>
            <ac:picMk id="7" creationId="{F91BA48D-C9B0-CA8C-37C7-F55068A3D3C6}"/>
          </ac:picMkLst>
        </pc:picChg>
      </pc:sldChg>
      <pc:sldChg chg="addSp delSp modSp mod">
        <pc:chgData name="Roberto Gallardo" userId="49a044883f185952" providerId="LiveId" clId="{C70C73E2-89F7-4B51-8D91-75E00AC4D5BA}" dt="2023-03-05T14:31:57.339" v="348" actId="1036"/>
        <pc:sldMkLst>
          <pc:docMk/>
          <pc:sldMk cId="3100398757" sldId="286"/>
        </pc:sldMkLst>
        <pc:picChg chg="add mod">
          <ac:chgData name="Roberto Gallardo" userId="49a044883f185952" providerId="LiveId" clId="{C70C73E2-89F7-4B51-8D91-75E00AC4D5BA}" dt="2023-03-05T14:31:57.339" v="348" actId="1036"/>
          <ac:picMkLst>
            <pc:docMk/>
            <pc:sldMk cId="3100398757" sldId="286"/>
            <ac:picMk id="7" creationId="{8C97BE59-C860-7768-6A61-2162B90CCF41}"/>
          </ac:picMkLst>
        </pc:picChg>
        <pc:picChg chg="add del mod">
          <ac:chgData name="Roberto Gallardo" userId="49a044883f185952" providerId="LiveId" clId="{C70C73E2-89F7-4B51-8D91-75E00AC4D5BA}" dt="2023-03-05T14:09:48.415" v="210" actId="478"/>
          <ac:picMkLst>
            <pc:docMk/>
            <pc:sldMk cId="3100398757" sldId="286"/>
            <ac:picMk id="7" creationId="{A3DD5039-43F9-E328-4377-BE8CA2AD17EE}"/>
          </ac:picMkLst>
        </pc:picChg>
      </pc:sldChg>
      <pc:sldChg chg="addSp delSp modSp mod">
        <pc:chgData name="Roberto Gallardo" userId="49a044883f185952" providerId="LiveId" clId="{C70C73E2-89F7-4B51-8D91-75E00AC4D5BA}" dt="2023-03-05T14:32:18.172" v="359" actId="1076"/>
        <pc:sldMkLst>
          <pc:docMk/>
          <pc:sldMk cId="1546475425" sldId="287"/>
        </pc:sldMkLst>
        <pc:picChg chg="add del mod">
          <ac:chgData name="Roberto Gallardo" userId="49a044883f185952" providerId="LiveId" clId="{C70C73E2-89F7-4B51-8D91-75E00AC4D5BA}" dt="2023-03-05T14:09:49.913" v="211" actId="478"/>
          <ac:picMkLst>
            <pc:docMk/>
            <pc:sldMk cId="1546475425" sldId="287"/>
            <ac:picMk id="7" creationId="{3FA223CC-E8C7-D89F-6572-EAA687FB2029}"/>
          </ac:picMkLst>
        </pc:picChg>
        <pc:picChg chg="add mod">
          <ac:chgData name="Roberto Gallardo" userId="49a044883f185952" providerId="LiveId" clId="{C70C73E2-89F7-4B51-8D91-75E00AC4D5BA}" dt="2023-03-05T14:32:18.172" v="359" actId="1076"/>
          <ac:picMkLst>
            <pc:docMk/>
            <pc:sldMk cId="1546475425" sldId="287"/>
            <ac:picMk id="7" creationId="{81F4F6CA-1557-81E8-74C7-43D91902953D}"/>
          </ac:picMkLst>
        </pc:picChg>
      </pc:sldChg>
      <pc:sldChg chg="addSp delSp modSp mod">
        <pc:chgData name="Roberto Gallardo" userId="49a044883f185952" providerId="LiveId" clId="{C70C73E2-89F7-4B51-8D91-75E00AC4D5BA}" dt="2023-03-05T14:33:00.607" v="383" actId="1076"/>
        <pc:sldMkLst>
          <pc:docMk/>
          <pc:sldMk cId="1380517306" sldId="288"/>
        </pc:sldMkLst>
        <pc:picChg chg="add mod">
          <ac:chgData name="Roberto Gallardo" userId="49a044883f185952" providerId="LiveId" clId="{C70C73E2-89F7-4B51-8D91-75E00AC4D5BA}" dt="2023-03-05T14:33:00.607" v="383" actId="1076"/>
          <ac:picMkLst>
            <pc:docMk/>
            <pc:sldMk cId="1380517306" sldId="288"/>
            <ac:picMk id="7" creationId="{77147CAC-8770-B0FC-AF57-8BDD73BEA9F5}"/>
          </ac:picMkLst>
        </pc:picChg>
        <pc:picChg chg="add del mod">
          <ac:chgData name="Roberto Gallardo" userId="49a044883f185952" providerId="LiveId" clId="{C70C73E2-89F7-4B51-8D91-75E00AC4D5BA}" dt="2023-03-05T14:09:54.298" v="213" actId="478"/>
          <ac:picMkLst>
            <pc:docMk/>
            <pc:sldMk cId="1380517306" sldId="288"/>
            <ac:picMk id="7" creationId="{8A8A482A-FA5A-A006-899C-4CD1C2E74167}"/>
          </ac:picMkLst>
        </pc:picChg>
      </pc:sldChg>
      <pc:sldChg chg="addSp delSp modSp mod">
        <pc:chgData name="Roberto Gallardo" userId="49a044883f185952" providerId="LiveId" clId="{C70C73E2-89F7-4B51-8D91-75E00AC4D5BA}" dt="2023-03-05T14:33:24.404" v="401" actId="1035"/>
        <pc:sldMkLst>
          <pc:docMk/>
          <pc:sldMk cId="1388671151" sldId="289"/>
        </pc:sldMkLst>
        <pc:picChg chg="add mod">
          <ac:chgData name="Roberto Gallardo" userId="49a044883f185952" providerId="LiveId" clId="{C70C73E2-89F7-4B51-8D91-75E00AC4D5BA}" dt="2023-03-05T14:33:24.404" v="401" actId="1035"/>
          <ac:picMkLst>
            <pc:docMk/>
            <pc:sldMk cId="1388671151" sldId="289"/>
            <ac:picMk id="7" creationId="{32920D64-E41D-850F-8FB9-2240527C9779}"/>
          </ac:picMkLst>
        </pc:picChg>
        <pc:picChg chg="add del mod">
          <ac:chgData name="Roberto Gallardo" userId="49a044883f185952" providerId="LiveId" clId="{C70C73E2-89F7-4B51-8D91-75E00AC4D5BA}" dt="2023-03-05T14:09:55.649" v="214" actId="478"/>
          <ac:picMkLst>
            <pc:docMk/>
            <pc:sldMk cId="1388671151" sldId="289"/>
            <ac:picMk id="7" creationId="{D9FEF182-74C5-F302-E8D3-43B582F4564C}"/>
          </ac:picMkLst>
        </pc:picChg>
      </pc:sldChg>
      <pc:sldChg chg="addSp delSp modSp mod">
        <pc:chgData name="Roberto Gallardo" userId="49a044883f185952" providerId="LiveId" clId="{C70C73E2-89F7-4B51-8D91-75E00AC4D5BA}" dt="2023-03-05T14:34:09.990" v="440" actId="1035"/>
        <pc:sldMkLst>
          <pc:docMk/>
          <pc:sldMk cId="2355376039" sldId="290"/>
        </pc:sldMkLst>
        <pc:picChg chg="add mod">
          <ac:chgData name="Roberto Gallardo" userId="49a044883f185952" providerId="LiveId" clId="{C70C73E2-89F7-4B51-8D91-75E00AC4D5BA}" dt="2023-03-05T14:34:09.990" v="440" actId="1035"/>
          <ac:picMkLst>
            <pc:docMk/>
            <pc:sldMk cId="2355376039" sldId="290"/>
            <ac:picMk id="8" creationId="{C0EAF44E-1760-8394-31C1-B61BFC08DB2C}"/>
          </ac:picMkLst>
        </pc:picChg>
        <pc:picChg chg="add del mod">
          <ac:chgData name="Roberto Gallardo" userId="49a044883f185952" providerId="LiveId" clId="{C70C73E2-89F7-4B51-8D91-75E00AC4D5BA}" dt="2023-03-05T14:09:59.717" v="216" actId="478"/>
          <ac:picMkLst>
            <pc:docMk/>
            <pc:sldMk cId="2355376039" sldId="290"/>
            <ac:picMk id="8" creationId="{FCB655DF-DABF-F092-5463-F1D55C69E30C}"/>
          </ac:picMkLst>
        </pc:picChg>
      </pc:sldChg>
      <pc:sldChg chg="addSp delSp modSp mod">
        <pc:chgData name="Roberto Gallardo" userId="49a044883f185952" providerId="LiveId" clId="{C70C73E2-89F7-4B51-8D91-75E00AC4D5BA}" dt="2023-03-05T14:34:28.932" v="449" actId="1076"/>
        <pc:sldMkLst>
          <pc:docMk/>
          <pc:sldMk cId="3757257295" sldId="291"/>
        </pc:sldMkLst>
        <pc:picChg chg="add mod">
          <ac:chgData name="Roberto Gallardo" userId="49a044883f185952" providerId="LiveId" clId="{C70C73E2-89F7-4B51-8D91-75E00AC4D5BA}" dt="2023-03-05T14:34:28.932" v="449" actId="1076"/>
          <ac:picMkLst>
            <pc:docMk/>
            <pc:sldMk cId="3757257295" sldId="291"/>
            <ac:picMk id="8" creationId="{23BA04BB-4500-2B80-1E4D-2223C422BC52}"/>
          </ac:picMkLst>
        </pc:picChg>
        <pc:picChg chg="add del mod">
          <ac:chgData name="Roberto Gallardo" userId="49a044883f185952" providerId="LiveId" clId="{C70C73E2-89F7-4B51-8D91-75E00AC4D5BA}" dt="2023-03-05T14:10:01.978" v="217" actId="478"/>
          <ac:picMkLst>
            <pc:docMk/>
            <pc:sldMk cId="3757257295" sldId="291"/>
            <ac:picMk id="8" creationId="{77D17FC8-1052-ADDC-61D5-BF2D4FE4060A}"/>
          </ac:picMkLst>
        </pc:picChg>
      </pc:sldChg>
      <pc:sldChg chg="addSp delSp modSp mod">
        <pc:chgData name="Roberto Gallardo" userId="49a044883f185952" providerId="LiveId" clId="{C70C73E2-89F7-4B51-8D91-75E00AC4D5BA}" dt="2023-03-05T14:32:40.266" v="372" actId="1076"/>
        <pc:sldMkLst>
          <pc:docMk/>
          <pc:sldMk cId="1259856727" sldId="292"/>
        </pc:sldMkLst>
        <pc:picChg chg="add del mod">
          <ac:chgData name="Roberto Gallardo" userId="49a044883f185952" providerId="LiveId" clId="{C70C73E2-89F7-4B51-8D91-75E00AC4D5BA}" dt="2023-03-05T14:09:52.047" v="212" actId="478"/>
          <ac:picMkLst>
            <pc:docMk/>
            <pc:sldMk cId="1259856727" sldId="292"/>
            <ac:picMk id="7" creationId="{28FD3CD0-1741-D266-648D-8A26311A1123}"/>
          </ac:picMkLst>
        </pc:picChg>
        <pc:picChg chg="add mod">
          <ac:chgData name="Roberto Gallardo" userId="49a044883f185952" providerId="LiveId" clId="{C70C73E2-89F7-4B51-8D91-75E00AC4D5BA}" dt="2023-03-05T14:32:40.266" v="372" actId="1076"/>
          <ac:picMkLst>
            <pc:docMk/>
            <pc:sldMk cId="1259856727" sldId="292"/>
            <ac:picMk id="7" creationId="{85760688-DE9B-9851-5B05-0548DFD2E480}"/>
          </ac:picMkLst>
        </pc:picChg>
      </pc:sldChg>
      <pc:sldChg chg="addSp delSp modSp mod">
        <pc:chgData name="Roberto Gallardo" userId="49a044883f185952" providerId="LiveId" clId="{C70C73E2-89F7-4B51-8D91-75E00AC4D5BA}" dt="2023-03-05T14:29:41.500" v="274" actId="1076"/>
        <pc:sldMkLst>
          <pc:docMk/>
          <pc:sldMk cId="3324519687" sldId="293"/>
        </pc:sldMkLst>
        <pc:picChg chg="add mod">
          <ac:chgData name="Roberto Gallardo" userId="49a044883f185952" providerId="LiveId" clId="{C70C73E2-89F7-4B51-8D91-75E00AC4D5BA}" dt="2023-03-05T14:29:41.500" v="274" actId="1076"/>
          <ac:picMkLst>
            <pc:docMk/>
            <pc:sldMk cId="3324519687" sldId="293"/>
            <ac:picMk id="7" creationId="{569F9A38-C368-3ABE-B3FB-13258BA74818}"/>
          </ac:picMkLst>
        </pc:picChg>
        <pc:picChg chg="add del mod">
          <ac:chgData name="Roberto Gallardo" userId="49a044883f185952" providerId="LiveId" clId="{C70C73E2-89F7-4B51-8D91-75E00AC4D5BA}" dt="2023-03-05T14:09:37.347" v="204" actId="478"/>
          <ac:picMkLst>
            <pc:docMk/>
            <pc:sldMk cId="3324519687" sldId="293"/>
            <ac:picMk id="7" creationId="{97E6D77A-BB76-0DE2-971A-0044D35FE06E}"/>
          </ac:picMkLst>
        </pc:picChg>
      </pc:sldChg>
      <pc:sldChg chg="addSp delSp modSp mod">
        <pc:chgData name="Roberto Gallardo" userId="49a044883f185952" providerId="LiveId" clId="{C70C73E2-89F7-4B51-8D91-75E00AC4D5BA}" dt="2023-03-05T14:28:42.323" v="254" actId="1076"/>
        <pc:sldMkLst>
          <pc:docMk/>
          <pc:sldMk cId="3256182630" sldId="295"/>
        </pc:sldMkLst>
        <pc:picChg chg="add del mod">
          <ac:chgData name="Roberto Gallardo" userId="49a044883f185952" providerId="LiveId" clId="{C70C73E2-89F7-4B51-8D91-75E00AC4D5BA}" dt="2023-03-05T14:09:32.738" v="202" actId="478"/>
          <ac:picMkLst>
            <pc:docMk/>
            <pc:sldMk cId="3256182630" sldId="295"/>
            <ac:picMk id="7" creationId="{0574F7B5-F32A-591F-A9FF-449A3741EDCD}"/>
          </ac:picMkLst>
        </pc:picChg>
        <pc:picChg chg="add mod">
          <ac:chgData name="Roberto Gallardo" userId="49a044883f185952" providerId="LiveId" clId="{C70C73E2-89F7-4B51-8D91-75E00AC4D5BA}" dt="2023-03-05T14:28:42.323" v="254" actId="1076"/>
          <ac:picMkLst>
            <pc:docMk/>
            <pc:sldMk cId="3256182630" sldId="295"/>
            <ac:picMk id="7" creationId="{8F5CEB81-69C8-B9BE-F9A2-70C615A19FA1}"/>
          </ac:picMkLst>
        </pc:picChg>
      </pc:sldChg>
      <pc:sldChg chg="addSp delSp modSp mod">
        <pc:chgData name="Roberto Gallardo" userId="49a044883f185952" providerId="LiveId" clId="{C70C73E2-89F7-4B51-8D91-75E00AC4D5BA}" dt="2023-03-05T14:29:17.375" v="263" actId="1076"/>
        <pc:sldMkLst>
          <pc:docMk/>
          <pc:sldMk cId="4057156843" sldId="296"/>
        </pc:sldMkLst>
        <pc:picChg chg="add del mod">
          <ac:chgData name="Roberto Gallardo" userId="49a044883f185952" providerId="LiveId" clId="{C70C73E2-89F7-4B51-8D91-75E00AC4D5BA}" dt="2023-03-05T14:09:34.847" v="203" actId="478"/>
          <ac:picMkLst>
            <pc:docMk/>
            <pc:sldMk cId="4057156843" sldId="296"/>
            <ac:picMk id="7" creationId="{5F34FE04-DBE7-28DB-9C0E-12D785AAB21D}"/>
          </ac:picMkLst>
        </pc:picChg>
        <pc:picChg chg="add mod">
          <ac:chgData name="Roberto Gallardo" userId="49a044883f185952" providerId="LiveId" clId="{C70C73E2-89F7-4B51-8D91-75E00AC4D5BA}" dt="2023-03-05T14:29:17.375" v="263" actId="1076"/>
          <ac:picMkLst>
            <pc:docMk/>
            <pc:sldMk cId="4057156843" sldId="296"/>
            <ac:picMk id="7" creationId="{9C20E2E7-477A-E4C2-A8FE-42AD486BE8FF}"/>
          </ac:picMkLst>
        </pc:picChg>
      </pc:sldChg>
      <pc:sldChg chg="addSp delSp modSp mod">
        <pc:chgData name="Roberto Gallardo" userId="49a044883f185952" providerId="LiveId" clId="{C70C73E2-89F7-4B51-8D91-75E00AC4D5BA}" dt="2023-03-05T14:28:09.966" v="245" actId="1076"/>
        <pc:sldMkLst>
          <pc:docMk/>
          <pc:sldMk cId="2080110827" sldId="297"/>
        </pc:sldMkLst>
        <pc:picChg chg="add mod">
          <ac:chgData name="Roberto Gallardo" userId="49a044883f185952" providerId="LiveId" clId="{C70C73E2-89F7-4B51-8D91-75E00AC4D5BA}" dt="2023-03-05T14:28:09.966" v="245" actId="1076"/>
          <ac:picMkLst>
            <pc:docMk/>
            <pc:sldMk cId="2080110827" sldId="297"/>
            <ac:picMk id="6" creationId="{8B0F6A9E-BD46-F127-67AF-105ADA2CA4D1}"/>
          </ac:picMkLst>
        </pc:picChg>
        <pc:picChg chg="add del mod">
          <ac:chgData name="Roberto Gallardo" userId="49a044883f185952" providerId="LiveId" clId="{C70C73E2-89F7-4B51-8D91-75E00AC4D5BA}" dt="2023-03-05T14:09:30.616" v="201" actId="478"/>
          <ac:picMkLst>
            <pc:docMk/>
            <pc:sldMk cId="2080110827" sldId="297"/>
            <ac:picMk id="6" creationId="{BA30D3A7-5C68-F624-557E-1CADAACBF87D}"/>
          </ac:picMkLst>
        </pc:picChg>
      </pc:sldChg>
      <pc:sldChg chg="addSp delSp modSp mod">
        <pc:chgData name="Roberto Gallardo" userId="49a044883f185952" providerId="LiveId" clId="{C70C73E2-89F7-4B51-8D91-75E00AC4D5BA}" dt="2023-03-05T14:26:53.828" v="238" actId="1076"/>
        <pc:sldMkLst>
          <pc:docMk/>
          <pc:sldMk cId="1532666867" sldId="298"/>
        </pc:sldMkLst>
        <pc:picChg chg="add mod">
          <ac:chgData name="Roberto Gallardo" userId="49a044883f185952" providerId="LiveId" clId="{C70C73E2-89F7-4B51-8D91-75E00AC4D5BA}" dt="2023-03-05T14:26:53.828" v="238" actId="1076"/>
          <ac:picMkLst>
            <pc:docMk/>
            <pc:sldMk cId="1532666867" sldId="298"/>
            <ac:picMk id="6" creationId="{8A83C6F6-666A-D3B8-E987-E66D15A4FAD9}"/>
          </ac:picMkLst>
        </pc:picChg>
        <pc:picChg chg="add del mod">
          <ac:chgData name="Roberto Gallardo" userId="49a044883f185952" providerId="LiveId" clId="{C70C73E2-89F7-4B51-8D91-75E00AC4D5BA}" dt="2023-03-05T14:09:28.741" v="200" actId="478"/>
          <ac:picMkLst>
            <pc:docMk/>
            <pc:sldMk cId="1532666867" sldId="298"/>
            <ac:picMk id="6" creationId="{F02DC264-6A16-391C-F025-0C263B223CE1}"/>
          </ac:picMkLst>
        </pc:picChg>
      </pc:sldChg>
      <pc:sldChg chg="addSp delSp modSp mod">
        <pc:chgData name="Roberto Gallardo" userId="49a044883f185952" providerId="LiveId" clId="{C70C73E2-89F7-4B51-8D91-75E00AC4D5BA}" dt="2023-03-05T14:33:45.741" v="428" actId="1035"/>
        <pc:sldMkLst>
          <pc:docMk/>
          <pc:sldMk cId="1951376777" sldId="299"/>
        </pc:sldMkLst>
        <pc:picChg chg="add mod">
          <ac:chgData name="Roberto Gallardo" userId="49a044883f185952" providerId="LiveId" clId="{C70C73E2-89F7-4B51-8D91-75E00AC4D5BA}" dt="2023-03-05T14:33:45.741" v="428" actId="1035"/>
          <ac:picMkLst>
            <pc:docMk/>
            <pc:sldMk cId="1951376777" sldId="299"/>
            <ac:picMk id="7" creationId="{6EF5EE25-950D-76BC-D6C3-B7EFF5C52B8A}"/>
          </ac:picMkLst>
        </pc:picChg>
        <pc:picChg chg="add del mod">
          <ac:chgData name="Roberto Gallardo" userId="49a044883f185952" providerId="LiveId" clId="{C70C73E2-89F7-4B51-8D91-75E00AC4D5BA}" dt="2023-03-05T14:09:57.436" v="215" actId="478"/>
          <ac:picMkLst>
            <pc:docMk/>
            <pc:sldMk cId="1951376777" sldId="299"/>
            <ac:picMk id="7" creationId="{DBA43B1E-3E67-588B-B147-31A67965D608}"/>
          </ac:picMkLst>
        </pc:picChg>
      </pc:sldChg>
      <pc:sldChg chg="modSp mod">
        <pc:chgData name="Roberto Gallardo" userId="49a044883f185952" providerId="LiveId" clId="{C70C73E2-89F7-4B51-8D91-75E00AC4D5BA}" dt="2023-02-25T13:22:18.548" v="196" actId="20577"/>
        <pc:sldMkLst>
          <pc:docMk/>
          <pc:sldMk cId="1515423683" sldId="302"/>
        </pc:sldMkLst>
        <pc:spChg chg="mod">
          <ac:chgData name="Roberto Gallardo" userId="49a044883f185952" providerId="LiveId" clId="{C70C73E2-89F7-4B51-8D91-75E00AC4D5BA}" dt="2023-02-25T13:22:18.548" v="196" actId="20577"/>
          <ac:spMkLst>
            <pc:docMk/>
            <pc:sldMk cId="1515423683" sldId="302"/>
            <ac:spMk id="5" creationId="{6AE302AC-8931-4144-BE52-DD1A8BA82462}"/>
          </ac:spMkLst>
        </pc:spChg>
        <pc:spChg chg="mod">
          <ac:chgData name="Roberto Gallardo" userId="49a044883f185952" providerId="LiveId" clId="{C70C73E2-89F7-4B51-8D91-75E00AC4D5BA}" dt="2023-02-25T13:22:15.519" v="195" actId="20577"/>
          <ac:spMkLst>
            <pc:docMk/>
            <pc:sldMk cId="1515423683" sldId="302"/>
            <ac:spMk id="9" creationId="{E362A98F-7DCD-C67C-23CE-1BE182A133B4}"/>
          </ac:spMkLst>
        </pc:spChg>
      </pc:sldChg>
      <pc:sldChg chg="del">
        <pc:chgData name="Roberto Gallardo" userId="49a044883f185952" providerId="LiveId" clId="{C70C73E2-89F7-4B51-8D91-75E00AC4D5BA}" dt="2023-02-25T14:50:29.844" v="198" actId="47"/>
        <pc:sldMkLst>
          <pc:docMk/>
          <pc:sldMk cId="2841628872" sldId="303"/>
        </pc:sldMkLst>
      </pc:sldChg>
      <pc:sldChg chg="del">
        <pc:chgData name="Roberto Gallardo" userId="49a044883f185952" providerId="LiveId" clId="{C70C73E2-89F7-4B51-8D91-75E00AC4D5BA}" dt="2023-02-25T14:50:29.844" v="198" actId="47"/>
        <pc:sldMkLst>
          <pc:docMk/>
          <pc:sldMk cId="3084076302" sldId="304"/>
        </pc:sldMkLst>
      </pc:sldChg>
      <pc:sldChg chg="del">
        <pc:chgData name="Roberto Gallardo" userId="49a044883f185952" providerId="LiveId" clId="{C70C73E2-89F7-4B51-8D91-75E00AC4D5BA}" dt="2023-02-25T14:50:29.844" v="198" actId="47"/>
        <pc:sldMkLst>
          <pc:docMk/>
          <pc:sldMk cId="473712435" sldId="305"/>
        </pc:sldMkLst>
      </pc:sldChg>
      <pc:sldChg chg="add">
        <pc:chgData name="Roberto Gallardo" userId="49a044883f185952" providerId="LiveId" clId="{C70C73E2-89F7-4B51-8D91-75E00AC4D5BA}" dt="2023-02-25T14:50:26.157" v="197"/>
        <pc:sldMkLst>
          <pc:docMk/>
          <pc:sldMk cId="960762553" sldId="307"/>
        </pc:sldMkLst>
      </pc:sldChg>
      <pc:sldChg chg="add">
        <pc:chgData name="Roberto Gallardo" userId="49a044883f185952" providerId="LiveId" clId="{C70C73E2-89F7-4B51-8D91-75E00AC4D5BA}" dt="2023-02-25T14:50:26.157" v="197"/>
        <pc:sldMkLst>
          <pc:docMk/>
          <pc:sldMk cId="3891759549" sldId="308"/>
        </pc:sldMkLst>
      </pc:sldChg>
      <pc:sldChg chg="add">
        <pc:chgData name="Roberto Gallardo" userId="49a044883f185952" providerId="LiveId" clId="{C70C73E2-89F7-4B51-8D91-75E00AC4D5BA}" dt="2023-02-25T14:50:26.157" v="197"/>
        <pc:sldMkLst>
          <pc:docMk/>
          <pc:sldMk cId="2238018174" sldId="309"/>
        </pc:sldMkLst>
      </pc:sldChg>
      <pc:sldChg chg="add">
        <pc:chgData name="Roberto Gallardo" userId="49a044883f185952" providerId="LiveId" clId="{C70C73E2-89F7-4B51-8D91-75E00AC4D5BA}" dt="2023-02-25T14:50:26.157" v="197"/>
        <pc:sldMkLst>
          <pc:docMk/>
          <pc:sldMk cId="773694849"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Iredell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FE98AC78-46E3-51E3-CB0E-0A51205A2C38}"/>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22380181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CB76DF24-47C7-A562-6868-48A2CABCCA0E}"/>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7736948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5ABFC65C-AA08-A2E4-8D04-D651633E85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22620" y="1028700"/>
            <a:ext cx="7670559" cy="5424291"/>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8A83C6F6-666A-D3B8-E987-E66D15A4FA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3502" y="1028700"/>
            <a:ext cx="7608795" cy="5380614"/>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8B0F6A9E-BD46-F127-67AF-105ADA2CA4D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3876" y="1028700"/>
            <a:ext cx="7608047" cy="5380085"/>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7B5E60CD-15BE-A1D1-E45A-4B7A5844DDD0}"/>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8F5CEB81-69C8-B9BE-F9A2-70C615A19F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975" y="1415052"/>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E3A6E780-CFEF-C89D-9F4F-1DFAA2587BEC}"/>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9C20E2E7-477A-E4C2-A8FE-42AD486BE8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2341"/>
            <a:ext cx="6403975" cy="4528617"/>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1BFF9D4E-9385-2A0E-2766-BD307DDF2757}"/>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569F9A38-C368-3ABE-B3FB-13258BA7481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269"/>
            <a:ext cx="6400800" cy="4526372"/>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123DEC35-2B47-E31B-F39D-7379113DD406}"/>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a:extLst>
              <a:ext uri="{FF2B5EF4-FFF2-40B4-BE49-F238E27FC236}">
                <a16:creationId xmlns:a16="http://schemas.microsoft.com/office/drawing/2014/main" id="{BFC7066E-7B95-01CA-F2FA-5BE4F1455C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975" y="1412670"/>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6722D971-F013-2409-3E95-2030E90CB71C}"/>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F90BC40B-4D49-E1D9-A57C-1794F99308D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9647"/>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a:t>
            </a:r>
            <a:r>
              <a:rPr lang="en-US" sz="1400"/>
              <a:t>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9C9F8675-AE2C-AF2D-7E5C-3A1249F2D789}"/>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50237FFC-4A59-E60A-B559-1B5B5768A0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5178"/>
            <a:ext cx="6400800" cy="45263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22F84723-61E8-C07A-FD94-58DEEA9CFDBC}"/>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83C91FD2-A418-C572-C4A5-F9C2700DFD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365" y="1417102"/>
            <a:ext cx="6401235" cy="4526679"/>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F4B16705-9902-5179-3041-C900EC6811BB}"/>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29E0934E-7C0B-3B89-CAC7-C9C96288E2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7612"/>
            <a:ext cx="6403881" cy="4528550"/>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460C3F2C-609F-87A5-42C9-209C87236234}"/>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8C97BE59-C860-7768-6A61-2162B90CCF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369" y="1417108"/>
            <a:ext cx="6401232" cy="4526677"/>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9B956B45-1AE4-64E7-BBA6-8E763348EEC8}"/>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81F4F6CA-1557-81E8-74C7-43D91902953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387"/>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E15A60EB-2E61-5254-008C-723A2DB0A964}"/>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85760688-DE9B-9851-5B05-0548DFD2E4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6772"/>
            <a:ext cx="6400800" cy="4526371"/>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9FD303C3-B16D-EB4A-465E-560CF1510D9B}"/>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77147CAC-8770-B0FC-AF57-8BDD73BEA9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812"/>
            <a:ext cx="6408125" cy="4531552"/>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8506083E-F5C1-BC3A-B65C-C0EFB5D8FB67}"/>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32920D64-E41D-850F-8FB9-2240527C977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1793"/>
            <a:ext cx="6400800" cy="4526371"/>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99376CEE-4392-7323-CA7D-266F9A3FAAF0}"/>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Map&#10;&#10;Description automatically generated">
            <a:extLst>
              <a:ext uri="{FF2B5EF4-FFF2-40B4-BE49-F238E27FC236}">
                <a16:creationId xmlns:a16="http://schemas.microsoft.com/office/drawing/2014/main" id="{6EF5EE25-950D-76BC-D6C3-B7EFF5C52B8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5783"/>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54E78F45-454C-57CE-3C79-BC3FE2645FEB}"/>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C0EAF44E-1760-8394-31C1-B61BFC08DB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2050" y="1413164"/>
            <a:ext cx="6387550" cy="4517002"/>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67EB2649-D03C-51F0-61F5-DD2B0F19B776}"/>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15DC96C6-04E2-A9DA-7A0A-F709C17665B7}"/>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Map&#10;&#10;Description automatically generated">
            <a:extLst>
              <a:ext uri="{FF2B5EF4-FFF2-40B4-BE49-F238E27FC236}">
                <a16:creationId xmlns:a16="http://schemas.microsoft.com/office/drawing/2014/main" id="{23BA04BB-4500-2B80-1E4D-2223C422BC5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5663" y="1415514"/>
            <a:ext cx="6393938" cy="4521519"/>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E918AA2E-4ECC-8F1A-92A1-115D90C1520B}"/>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CB5F262D-B4D9-F9B8-5C86-00EB67E3B1CA}"/>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A470A1D-66BB-5023-1B74-BCCE9AAF77F3}"/>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32901" y="1691989"/>
            <a:ext cx="1198148" cy="2600577"/>
            <a:chOff x="2775759" y="1891433"/>
            <a:chExt cx="1198148" cy="2600577"/>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609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3374833" y="1891433"/>
              <a:ext cx="0" cy="8039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53528"/>
              <a:ext cx="0" cy="8384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0E243481-3895-8F9B-0452-2542039D8679}"/>
              </a:ext>
            </a:extLst>
          </p:cNvPr>
          <p:cNvGrpSpPr/>
          <p:nvPr/>
        </p:nvGrpSpPr>
        <p:grpSpPr>
          <a:xfrm>
            <a:off x="5147278" y="1991801"/>
            <a:ext cx="1198148" cy="2227585"/>
            <a:chOff x="5385750" y="2201038"/>
            <a:chExt cx="1198148" cy="2227585"/>
          </a:xfrm>
        </p:grpSpPr>
        <p:sp>
          <p:nvSpPr>
            <p:cNvPr id="16" name="TextBox 15">
              <a:extLst>
                <a:ext uri="{FF2B5EF4-FFF2-40B4-BE49-F238E27FC236}">
                  <a16:creationId xmlns:a16="http://schemas.microsoft.com/office/drawing/2014/main" id="{420A225E-A640-906C-A470-552759842A43}"/>
                </a:ext>
              </a:extLst>
            </p:cNvPr>
            <p:cNvSpPr txBox="1"/>
            <p:nvPr/>
          </p:nvSpPr>
          <p:spPr>
            <a:xfrm>
              <a:off x="5385750" y="296489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5834222" y="442862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5831277" y="22010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a:endCxn id="16" idx="0"/>
            </p:cNvCxnSpPr>
            <p:nvPr/>
          </p:nvCxnSpPr>
          <p:spPr>
            <a:xfrm>
              <a:off x="5984824" y="2201038"/>
              <a:ext cx="0" cy="76385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a:stCxn id="16" idx="2"/>
            </p:cNvCxnSpPr>
            <p:nvPr/>
          </p:nvCxnSpPr>
          <p:spPr>
            <a:xfrm>
              <a:off x="5984824" y="3857446"/>
              <a:ext cx="0" cy="56860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2F068F95-0687-AB57-94F9-C55A9D7A2FD0}"/>
              </a:ext>
            </a:extLst>
          </p:cNvPr>
          <p:cNvGrpSpPr/>
          <p:nvPr/>
        </p:nvGrpSpPr>
        <p:grpSpPr>
          <a:xfrm>
            <a:off x="7008861" y="1812324"/>
            <a:ext cx="1198148" cy="2091613"/>
            <a:chOff x="8040444" y="2992125"/>
            <a:chExt cx="1198148" cy="2091613"/>
          </a:xfrm>
        </p:grpSpPr>
        <p:sp>
          <p:nvSpPr>
            <p:cNvPr id="21" name="TextBox 20">
              <a:extLst>
                <a:ext uri="{FF2B5EF4-FFF2-40B4-BE49-F238E27FC236}">
                  <a16:creationId xmlns:a16="http://schemas.microsoft.com/office/drawing/2014/main" id="{9A68ADBE-AECC-EE60-7E94-3675B33E08AE}"/>
                </a:ext>
              </a:extLst>
            </p:cNvPr>
            <p:cNvSpPr txBox="1"/>
            <p:nvPr/>
          </p:nvSpPr>
          <p:spPr>
            <a:xfrm>
              <a:off x="8040444" y="3655863"/>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1</a:t>
              </a:r>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8482681" y="50837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8492549" y="29921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a:endCxn id="21" idx="0"/>
            </p:cNvCxnSpPr>
            <p:nvPr/>
          </p:nvCxnSpPr>
          <p:spPr>
            <a:xfrm>
              <a:off x="8639518" y="2992125"/>
              <a:ext cx="0" cy="66373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a:stCxn id="21" idx="2"/>
            </p:cNvCxnSpPr>
            <p:nvPr/>
          </p:nvCxnSpPr>
          <p:spPr>
            <a:xfrm>
              <a:off x="8639518" y="4548415"/>
              <a:ext cx="0" cy="5286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27315" y="2279951"/>
            <a:ext cx="1198148" cy="1909713"/>
            <a:chOff x="10466695" y="2638512"/>
            <a:chExt cx="1198148" cy="1909713"/>
          </a:xfrm>
        </p:grpSpPr>
        <p:sp>
          <p:nvSpPr>
            <p:cNvPr id="11" name="TextBox 10">
              <a:extLst>
                <a:ext uri="{FF2B5EF4-FFF2-40B4-BE49-F238E27FC236}">
                  <a16:creationId xmlns:a16="http://schemas.microsoft.com/office/drawing/2014/main" id="{09F5AE19-B4E3-7788-F25F-CDA80D596DAF}"/>
                </a:ext>
              </a:extLst>
            </p:cNvPr>
            <p:cNvSpPr txBox="1"/>
            <p:nvPr/>
          </p:nvSpPr>
          <p:spPr>
            <a:xfrm>
              <a:off x="10466695" y="316983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19.1</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11087" y="45482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14125" y="264803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65769" y="2638512"/>
              <a:ext cx="0" cy="53132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65769" y="4062386"/>
              <a:ext cx="0" cy="48583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5260A303-4698-B0B9-E130-4ADD545EA0D1}"/>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F931E031-61AA-46B4-37A2-E5D59A4F85AA}"/>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CCA9B0E6-3659-5234-0FD0-40C6DCD1FD98}"/>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79847377-E941-EF20-03C3-C7B661487C3A}"/>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7F6151F7-BDB7-E305-4071-E1EB00652CDB}"/>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7D5ECD85-543B-06B4-E993-11DD84A271E4}"/>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6162235D-E6F4-07AC-FEC5-8C8835F99733}"/>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9607625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9C20070D-0C30-EF78-85B3-7F0A84670D8B}"/>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8917595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85</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58</cp:revision>
  <dcterms:created xsi:type="dcterms:W3CDTF">2022-07-04T13:32:28Z</dcterms:created>
  <dcterms:modified xsi:type="dcterms:W3CDTF">2023-03-05T14:34:33Z</dcterms:modified>
</cp:coreProperties>
</file>